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8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Fredoka" pitchFamily="2" charset="-79"/>
      <p:regular r:id="rId7"/>
      <p:bold r:id="rId8"/>
    </p:embeddedFont>
    <p:embeddedFont>
      <p:font typeface="Fredoka Medium" pitchFamily="2" charset="-79"/>
      <p:regular r:id="rId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7EF"/>
    <a:srgbClr val="FFEA97"/>
    <a:srgbClr val="FFFCED"/>
    <a:srgbClr val="FFF8E2"/>
    <a:srgbClr val="4D7389"/>
    <a:srgbClr val="FFFAF2"/>
    <a:srgbClr val="3B9F8D"/>
    <a:srgbClr val="991C1D"/>
    <a:srgbClr val="8F3B00"/>
    <a:srgbClr val="754A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94622" autoAdjust="0"/>
  </p:normalViewPr>
  <p:slideViewPr>
    <p:cSldViewPr>
      <p:cViewPr>
        <p:scale>
          <a:sx n="66" d="100"/>
          <a:sy n="66" d="100"/>
        </p:scale>
        <p:origin x="2700" y="19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ableStyles" Target="tableStyle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viewProps" Target="viewProps.xml"/><Relationship Id="rId5" Type="http://schemas.openxmlformats.org/officeDocument/2006/relationships/font" Target="fonts/font3.fntdata"/><Relationship Id="rId10" Type="http://schemas.openxmlformats.org/officeDocument/2006/relationships/presProps" Target="presProps.xml"/><Relationship Id="rId4" Type="http://schemas.openxmlformats.org/officeDocument/2006/relationships/font" Target="fonts/font2.fntdata"/><Relationship Id="rId9" Type="http://schemas.openxmlformats.org/officeDocument/2006/relationships/font" Target="fonts/font7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91C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5">
            <a:extLst>
              <a:ext uri="{FF2B5EF4-FFF2-40B4-BE49-F238E27FC236}">
                <a16:creationId xmlns:a16="http://schemas.microsoft.com/office/drawing/2014/main" id="{079A7BF3-1976-FDF4-680F-5A65DCDA6815}"/>
              </a:ext>
            </a:extLst>
          </p:cNvPr>
          <p:cNvGrpSpPr/>
          <p:nvPr/>
        </p:nvGrpSpPr>
        <p:grpSpPr>
          <a:xfrm>
            <a:off x="-1115684" y="-143271"/>
            <a:ext cx="8965960" cy="10997768"/>
            <a:chOff x="-1115684" y="-143271"/>
            <a:chExt cx="8965960" cy="10997768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BC79668-9445-B1AC-A029-139B9EA45E9D}"/>
                </a:ext>
              </a:extLst>
            </p:cNvPr>
            <p:cNvGrpSpPr/>
            <p:nvPr/>
          </p:nvGrpSpPr>
          <p:grpSpPr>
            <a:xfrm>
              <a:off x="-1115684" y="-143271"/>
              <a:ext cx="8965960" cy="10997768"/>
              <a:chOff x="-1115684" y="-143271"/>
              <a:chExt cx="8965960" cy="10997768"/>
            </a:xfrm>
          </p:grpSpPr>
          <p:sp>
            <p:nvSpPr>
              <p:cNvPr id="2" name="Freeform 2"/>
              <p:cNvSpPr/>
              <p:nvPr/>
            </p:nvSpPr>
            <p:spPr>
              <a:xfrm>
                <a:off x="6070836" y="0"/>
                <a:ext cx="1485664" cy="1750417"/>
              </a:xfrm>
              <a:custGeom>
                <a:avLst/>
                <a:gdLst/>
                <a:ahLst/>
                <a:cxnLst/>
                <a:rect l="l" t="t" r="r" b="b"/>
                <a:pathLst>
                  <a:path w="3422134" h="3002923">
                    <a:moveTo>
                      <a:pt x="0" y="0"/>
                    </a:moveTo>
                    <a:lnTo>
                      <a:pt x="3422134" y="0"/>
                    </a:lnTo>
                    <a:lnTo>
                      <a:pt x="3422134" y="3002923"/>
                    </a:lnTo>
                    <a:lnTo>
                      <a:pt x="0" y="300292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85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t="-71555" r="-130344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" name="Freeform 3"/>
              <p:cNvSpPr/>
              <p:nvPr/>
            </p:nvSpPr>
            <p:spPr>
              <a:xfrm>
                <a:off x="5388273" y="4588704"/>
                <a:ext cx="2168227" cy="2619540"/>
              </a:xfrm>
              <a:custGeom>
                <a:avLst/>
                <a:gdLst/>
                <a:ahLst/>
                <a:cxnLst/>
                <a:rect l="l" t="t" r="r" b="b"/>
                <a:pathLst>
                  <a:path w="3024000" h="2619540">
                    <a:moveTo>
                      <a:pt x="0" y="0"/>
                    </a:moveTo>
                    <a:lnTo>
                      <a:pt x="3024000" y="0"/>
                    </a:lnTo>
                    <a:lnTo>
                      <a:pt x="3024000" y="2619540"/>
                    </a:lnTo>
                    <a:lnTo>
                      <a:pt x="0" y="261954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5">
                  <a:alphaModFix amt="85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l="-1" r="-39469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8EFF2624-1852-881D-E7FA-72C8A37E630B}"/>
                  </a:ext>
                </a:extLst>
              </p:cNvPr>
              <p:cNvSpPr/>
              <p:nvPr/>
            </p:nvSpPr>
            <p:spPr>
              <a:xfrm rot="1561481">
                <a:off x="-1115684" y="1680439"/>
                <a:ext cx="1994058" cy="3548873"/>
              </a:xfrm>
              <a:custGeom>
                <a:avLst/>
                <a:gdLst>
                  <a:gd name="connsiteX0" fmla="*/ 0 w 1994058"/>
                  <a:gd name="connsiteY0" fmla="*/ 0 h 3548873"/>
                  <a:gd name="connsiteX1" fmla="*/ 1994058 w 1994058"/>
                  <a:gd name="connsiteY1" fmla="*/ 0 h 3548873"/>
                  <a:gd name="connsiteX2" fmla="*/ 1994058 w 1994058"/>
                  <a:gd name="connsiteY2" fmla="*/ 3548873 h 3548873"/>
                  <a:gd name="connsiteX3" fmla="*/ 731083 w 1994058"/>
                  <a:gd name="connsiteY3" fmla="*/ 962219 h 3548873"/>
                  <a:gd name="connsiteX4" fmla="*/ 0 w 1994058"/>
                  <a:gd name="connsiteY4" fmla="*/ 1319182 h 3548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94058" h="3548873">
                    <a:moveTo>
                      <a:pt x="0" y="0"/>
                    </a:moveTo>
                    <a:lnTo>
                      <a:pt x="1994058" y="0"/>
                    </a:lnTo>
                    <a:lnTo>
                      <a:pt x="1994058" y="3548873"/>
                    </a:lnTo>
                    <a:lnTo>
                      <a:pt x="731083" y="962219"/>
                    </a:lnTo>
                    <a:lnTo>
                      <a:pt x="0" y="1319182"/>
                    </a:lnTo>
                    <a:close/>
                  </a:path>
                </a:pathLst>
              </a:custGeom>
              <a:blipFill>
                <a:blip r:embed="rId7">
                  <a:alphaModFix amt="85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 t="-1" b="-19942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596639A9-1D38-DA25-0E63-AD641B826DE3}"/>
                  </a:ext>
                </a:extLst>
              </p:cNvPr>
              <p:cNvSpPr/>
              <p:nvPr/>
            </p:nvSpPr>
            <p:spPr>
              <a:xfrm rot="20042431">
                <a:off x="6349057" y="8781417"/>
                <a:ext cx="1278443" cy="2073080"/>
              </a:xfrm>
              <a:custGeom>
                <a:avLst/>
                <a:gdLst>
                  <a:gd name="connsiteX0" fmla="*/ 1278443 w 1278443"/>
                  <a:gd name="connsiteY0" fmla="*/ 0 h 2073080"/>
                  <a:gd name="connsiteX1" fmla="*/ 1278443 w 1278443"/>
                  <a:gd name="connsiteY1" fmla="*/ 1025305 h 2073080"/>
                  <a:gd name="connsiteX2" fmla="*/ 768326 w 1278443"/>
                  <a:gd name="connsiteY2" fmla="*/ 2073080 h 2073080"/>
                  <a:gd name="connsiteX3" fmla="*/ 0 w 1278443"/>
                  <a:gd name="connsiteY3" fmla="*/ 1699015 h 2073080"/>
                  <a:gd name="connsiteX4" fmla="*/ 0 w 1278443"/>
                  <a:gd name="connsiteY4" fmla="*/ 0 h 2073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8443" h="2073080">
                    <a:moveTo>
                      <a:pt x="1278443" y="0"/>
                    </a:moveTo>
                    <a:lnTo>
                      <a:pt x="1278443" y="1025305"/>
                    </a:lnTo>
                    <a:lnTo>
                      <a:pt x="768326" y="2073080"/>
                    </a:lnTo>
                    <a:lnTo>
                      <a:pt x="0" y="1699015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9">
                  <a:alphaModFix amt="85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t="1" b="-29552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2CF8808E-F35C-B395-B7A0-0CA4559BF203}"/>
                  </a:ext>
                </a:extLst>
              </p:cNvPr>
              <p:cNvSpPr/>
              <p:nvPr/>
            </p:nvSpPr>
            <p:spPr>
              <a:xfrm rot="2117371">
                <a:off x="-495804" y="8973310"/>
                <a:ext cx="1849716" cy="1819563"/>
              </a:xfrm>
              <a:custGeom>
                <a:avLst/>
                <a:gdLst>
                  <a:gd name="connsiteX0" fmla="*/ 0 w 1849716"/>
                  <a:gd name="connsiteY0" fmla="*/ 0 h 1819563"/>
                  <a:gd name="connsiteX1" fmla="*/ 1849716 w 1849716"/>
                  <a:gd name="connsiteY1" fmla="*/ 0 h 1819563"/>
                  <a:gd name="connsiteX2" fmla="*/ 1849716 w 1849716"/>
                  <a:gd name="connsiteY2" fmla="*/ 1247929 h 1819563"/>
                  <a:gd name="connsiteX3" fmla="*/ 1042055 w 1849716"/>
                  <a:gd name="connsiteY3" fmla="*/ 1819563 h 1819563"/>
                  <a:gd name="connsiteX4" fmla="*/ 153025 w 1849716"/>
                  <a:gd name="connsiteY4" fmla="*/ 563452 h 1819563"/>
                  <a:gd name="connsiteX5" fmla="*/ 0 w 1849716"/>
                  <a:gd name="connsiteY5" fmla="*/ 671758 h 1819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49716" h="1819563">
                    <a:moveTo>
                      <a:pt x="0" y="0"/>
                    </a:moveTo>
                    <a:lnTo>
                      <a:pt x="1849716" y="0"/>
                    </a:lnTo>
                    <a:lnTo>
                      <a:pt x="1849716" y="1247929"/>
                    </a:lnTo>
                    <a:lnTo>
                      <a:pt x="1042055" y="1819563"/>
                    </a:lnTo>
                    <a:lnTo>
                      <a:pt x="153025" y="563452"/>
                    </a:lnTo>
                    <a:lnTo>
                      <a:pt x="0" y="671758"/>
                    </a:lnTo>
                    <a:close/>
                  </a:path>
                </a:pathLst>
              </a:custGeom>
              <a:blipFill>
                <a:blip r:embed="rId11">
                  <a:alphaModFix amt="85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t="1" b="-128871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209B2864-9A25-3EE0-2FA4-508F3789F91A}"/>
                  </a:ext>
                </a:extLst>
              </p:cNvPr>
              <p:cNvSpPr/>
              <p:nvPr/>
            </p:nvSpPr>
            <p:spPr>
              <a:xfrm rot="18078443">
                <a:off x="6891432" y="2652561"/>
                <a:ext cx="824337" cy="1093350"/>
              </a:xfrm>
              <a:custGeom>
                <a:avLst/>
                <a:gdLst>
                  <a:gd name="connsiteX0" fmla="*/ 824337 w 824337"/>
                  <a:gd name="connsiteY0" fmla="*/ 0 h 1093350"/>
                  <a:gd name="connsiteX1" fmla="*/ 824337 w 824337"/>
                  <a:gd name="connsiteY1" fmla="*/ 592000 h 1093350"/>
                  <a:gd name="connsiteX2" fmla="*/ 0 w 824337"/>
                  <a:gd name="connsiteY2" fmla="*/ 1093350 h 1093350"/>
                  <a:gd name="connsiteX3" fmla="*/ 0 w 824337"/>
                  <a:gd name="connsiteY3" fmla="*/ 0 h 109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337" h="1093350">
                    <a:moveTo>
                      <a:pt x="824337" y="0"/>
                    </a:moveTo>
                    <a:lnTo>
                      <a:pt x="824337" y="592000"/>
                    </a:lnTo>
                    <a:lnTo>
                      <a:pt x="0" y="109335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alphaModFix amt="85000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t="-1" b="-100188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17D8DED-554B-B34D-52D5-1398D9DEC230}"/>
                  </a:ext>
                </a:extLst>
              </p:cNvPr>
              <p:cNvSpPr/>
              <p:nvPr/>
            </p:nvSpPr>
            <p:spPr>
              <a:xfrm rot="3297176">
                <a:off x="-224222" y="6879883"/>
                <a:ext cx="824337" cy="1037514"/>
              </a:xfrm>
              <a:custGeom>
                <a:avLst/>
                <a:gdLst>
                  <a:gd name="connsiteX0" fmla="*/ 0 w 824337"/>
                  <a:gd name="connsiteY0" fmla="*/ 0 h 1037514"/>
                  <a:gd name="connsiteX1" fmla="*/ 824337 w 824337"/>
                  <a:gd name="connsiteY1" fmla="*/ 0 h 1037514"/>
                  <a:gd name="connsiteX2" fmla="*/ 824337 w 824337"/>
                  <a:gd name="connsiteY2" fmla="*/ 1037514 h 1037514"/>
                  <a:gd name="connsiteX3" fmla="*/ 0 w 824337"/>
                  <a:gd name="connsiteY3" fmla="*/ 459297 h 1037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337" h="1037514">
                    <a:moveTo>
                      <a:pt x="0" y="0"/>
                    </a:moveTo>
                    <a:lnTo>
                      <a:pt x="824337" y="0"/>
                    </a:lnTo>
                    <a:lnTo>
                      <a:pt x="824337" y="1037514"/>
                    </a:lnTo>
                    <a:lnTo>
                      <a:pt x="0" y="459297"/>
                    </a:lnTo>
                    <a:close/>
                  </a:path>
                </a:pathLst>
              </a:custGeom>
              <a:blipFill>
                <a:blip r:embed="rId13">
                  <a:alphaModFix amt="85000"/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b="-108000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9D1C525F-C5ED-A87F-FB0A-FE287C633853}"/>
                  </a:ext>
                </a:extLst>
              </p:cNvPr>
              <p:cNvSpPr/>
              <p:nvPr/>
            </p:nvSpPr>
            <p:spPr>
              <a:xfrm rot="7939410">
                <a:off x="-189670" y="-145259"/>
                <a:ext cx="1156796" cy="1160772"/>
              </a:xfrm>
              <a:custGeom>
                <a:avLst/>
                <a:gdLst>
                  <a:gd name="connsiteX0" fmla="*/ 0 w 1156796"/>
                  <a:gd name="connsiteY0" fmla="*/ 1111221 h 1160772"/>
                  <a:gd name="connsiteX1" fmla="*/ 0 w 1156796"/>
                  <a:gd name="connsiteY1" fmla="*/ 0 h 1160772"/>
                  <a:gd name="connsiteX2" fmla="*/ 1156796 w 1156796"/>
                  <a:gd name="connsiteY2" fmla="*/ 0 h 1160772"/>
                  <a:gd name="connsiteX3" fmla="*/ 1156796 w 1156796"/>
                  <a:gd name="connsiteY3" fmla="*/ 579416 h 1160772"/>
                  <a:gd name="connsiteX4" fmla="*/ 518420 w 1156796"/>
                  <a:gd name="connsiteY4" fmla="*/ 1160772 h 1160772"/>
                  <a:gd name="connsiteX5" fmla="*/ 258725 w 1156796"/>
                  <a:gd name="connsiteY5" fmla="*/ 875605 h 1160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6796" h="1160772">
                    <a:moveTo>
                      <a:pt x="0" y="1111221"/>
                    </a:moveTo>
                    <a:lnTo>
                      <a:pt x="0" y="0"/>
                    </a:lnTo>
                    <a:lnTo>
                      <a:pt x="1156796" y="0"/>
                    </a:lnTo>
                    <a:lnTo>
                      <a:pt x="1156796" y="579416"/>
                    </a:lnTo>
                    <a:lnTo>
                      <a:pt x="518420" y="1160772"/>
                    </a:lnTo>
                    <a:lnTo>
                      <a:pt x="258725" y="875605"/>
                    </a:lnTo>
                    <a:close/>
                  </a:path>
                </a:pathLst>
              </a:custGeom>
              <a:blipFill>
                <a:blip r:embed="rId15">
                  <a:alphaModFix amt="85000"/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C4E86F8-E9A4-5807-74CD-46F333E88367}"/>
                </a:ext>
              </a:extLst>
            </p:cNvPr>
            <p:cNvGrpSpPr/>
            <p:nvPr/>
          </p:nvGrpSpPr>
          <p:grpSpPr>
            <a:xfrm>
              <a:off x="756292" y="8180477"/>
              <a:ext cx="6043916" cy="1775180"/>
              <a:chOff x="755999" y="8180477"/>
              <a:chExt cx="6043916" cy="1775180"/>
            </a:xfrm>
          </p:grpSpPr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DFD57122-7796-DB19-08A0-8F93FD9ED328}"/>
                  </a:ext>
                </a:extLst>
              </p:cNvPr>
              <p:cNvSpPr/>
              <p:nvPr/>
            </p:nvSpPr>
            <p:spPr>
              <a:xfrm>
                <a:off x="755999" y="8180477"/>
                <a:ext cx="6043916" cy="1775180"/>
              </a:xfrm>
              <a:prstGeom prst="roundRect">
                <a:avLst>
                  <a:gd name="adj" fmla="val 1224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Freeform 39"/>
              <p:cNvSpPr/>
              <p:nvPr/>
            </p:nvSpPr>
            <p:spPr>
              <a:xfrm>
                <a:off x="1278594" y="8952896"/>
                <a:ext cx="487805" cy="48780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8F4BF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42"/>
              <p:cNvSpPr/>
              <p:nvPr/>
            </p:nvSpPr>
            <p:spPr>
              <a:xfrm>
                <a:off x="2407350" y="8952901"/>
                <a:ext cx="487800" cy="487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8F4BF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" name="Freeform 45"/>
              <p:cNvSpPr/>
              <p:nvPr/>
            </p:nvSpPr>
            <p:spPr>
              <a:xfrm>
                <a:off x="3534057" y="8952901"/>
                <a:ext cx="487800" cy="487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8F4BF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" name="Freeform 48"/>
              <p:cNvSpPr/>
              <p:nvPr/>
            </p:nvSpPr>
            <p:spPr>
              <a:xfrm>
                <a:off x="4664852" y="8952901"/>
                <a:ext cx="487800" cy="487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8F4BF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Freeform 51"/>
              <p:cNvSpPr/>
              <p:nvPr/>
            </p:nvSpPr>
            <p:spPr>
              <a:xfrm>
                <a:off x="5793604" y="8952901"/>
                <a:ext cx="487800" cy="487800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8F4BF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" name="TextBox 57"/>
              <p:cNvSpPr txBox="1"/>
              <p:nvPr/>
            </p:nvSpPr>
            <p:spPr>
              <a:xfrm>
                <a:off x="1317279" y="8339507"/>
                <a:ext cx="4921356" cy="2667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500" dirty="0">
                    <a:solidFill>
                      <a:srgbClr val="991C1D"/>
                    </a:solidFill>
                    <a:latin typeface="Fredoka Medium"/>
                  </a:rPr>
                  <a:t>DID YOU HAVE FUN MAKING ART TODAY?</a:t>
                </a:r>
              </a:p>
            </p:txBody>
          </p:sp>
          <p:sp>
            <p:nvSpPr>
              <p:cNvPr id="58" name="TextBox 58"/>
              <p:cNvSpPr txBox="1"/>
              <p:nvPr/>
            </p:nvSpPr>
            <p:spPr>
              <a:xfrm>
                <a:off x="1241845" y="8633510"/>
                <a:ext cx="5072224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99"/>
                  </a:lnSpc>
                </a:pPr>
                <a:r>
                  <a:rPr lang="en-US" sz="999" dirty="0">
                    <a:solidFill>
                      <a:srgbClr val="272D54"/>
                    </a:solidFill>
                    <a:latin typeface="Fredoka Medium"/>
                  </a:rPr>
                  <a:t>(Tick the circle)</a:t>
                </a:r>
              </a:p>
            </p:txBody>
          </p:sp>
          <p:sp>
            <p:nvSpPr>
              <p:cNvPr id="59" name="TextBox 59"/>
              <p:cNvSpPr txBox="1"/>
              <p:nvPr/>
            </p:nvSpPr>
            <p:spPr>
              <a:xfrm>
                <a:off x="1001601" y="9575938"/>
                <a:ext cx="1041790" cy="1485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60"/>
                  </a:lnSpc>
                </a:pPr>
                <a:r>
                  <a:rPr lang="en-US" sz="900" dirty="0">
                    <a:solidFill>
                      <a:srgbClr val="272D54"/>
                    </a:solidFill>
                    <a:latin typeface="Fredoka Medium"/>
                  </a:rPr>
                  <a:t>So much fun!</a:t>
                </a:r>
              </a:p>
            </p:txBody>
          </p:sp>
          <p:sp>
            <p:nvSpPr>
              <p:cNvPr id="60" name="TextBox 60"/>
              <p:cNvSpPr txBox="1"/>
              <p:nvPr/>
            </p:nvSpPr>
            <p:spPr>
              <a:xfrm>
                <a:off x="2130353" y="9575938"/>
                <a:ext cx="1041790" cy="1485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60"/>
                  </a:lnSpc>
                </a:pPr>
                <a:r>
                  <a:rPr lang="en-US" sz="900" dirty="0">
                    <a:solidFill>
                      <a:srgbClr val="272D54"/>
                    </a:solidFill>
                    <a:latin typeface="Fredoka Medium"/>
                  </a:rPr>
                  <a:t>Fun!</a:t>
                </a:r>
              </a:p>
            </p:txBody>
          </p:sp>
          <p:sp>
            <p:nvSpPr>
              <p:cNvPr id="61" name="TextBox 61"/>
              <p:cNvSpPr txBox="1"/>
              <p:nvPr/>
            </p:nvSpPr>
            <p:spPr>
              <a:xfrm>
                <a:off x="3257062" y="9575938"/>
                <a:ext cx="1041790" cy="1485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60"/>
                  </a:lnSpc>
                </a:pPr>
                <a:r>
                  <a:rPr lang="en-US" sz="900" dirty="0">
                    <a:solidFill>
                      <a:srgbClr val="272D54"/>
                    </a:solidFill>
                    <a:latin typeface="Fredoka Medium"/>
                  </a:rPr>
                  <a:t>A little fun</a:t>
                </a:r>
              </a:p>
            </p:txBody>
          </p:sp>
          <p:sp>
            <p:nvSpPr>
              <p:cNvPr id="62" name="TextBox 62"/>
              <p:cNvSpPr txBox="1"/>
              <p:nvPr/>
            </p:nvSpPr>
            <p:spPr>
              <a:xfrm>
                <a:off x="4387857" y="9575938"/>
                <a:ext cx="1041790" cy="1485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60"/>
                  </a:lnSpc>
                </a:pPr>
                <a:r>
                  <a:rPr lang="en-US" sz="900">
                    <a:solidFill>
                      <a:srgbClr val="272D54"/>
                    </a:solidFill>
                    <a:latin typeface="Fredoka Medium"/>
                  </a:rPr>
                  <a:t>Not so fun</a:t>
                </a:r>
              </a:p>
            </p:txBody>
          </p:sp>
          <p:sp>
            <p:nvSpPr>
              <p:cNvPr id="63" name="TextBox 63"/>
              <p:cNvSpPr txBox="1"/>
              <p:nvPr/>
            </p:nvSpPr>
            <p:spPr>
              <a:xfrm>
                <a:off x="5516608" y="9575938"/>
                <a:ext cx="1041790" cy="14859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60"/>
                  </a:lnSpc>
                </a:pPr>
                <a:r>
                  <a:rPr lang="en-US" sz="900">
                    <a:solidFill>
                      <a:srgbClr val="272D54"/>
                    </a:solidFill>
                    <a:latin typeface="Fredoka Medium"/>
                  </a:rPr>
                  <a:t>Not fun at all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37A2366-F6E7-F0D1-24E3-9190B226D2AD}"/>
                </a:ext>
              </a:extLst>
            </p:cNvPr>
            <p:cNvGrpSpPr/>
            <p:nvPr/>
          </p:nvGrpSpPr>
          <p:grpSpPr>
            <a:xfrm>
              <a:off x="756292" y="6180614"/>
              <a:ext cx="6043916" cy="1775180"/>
              <a:chOff x="755999" y="6180614"/>
              <a:chExt cx="6043916" cy="1775180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64D49FE0-E37D-6EDF-8819-EEF02DC34A35}"/>
                  </a:ext>
                </a:extLst>
              </p:cNvPr>
              <p:cNvSpPr/>
              <p:nvPr/>
            </p:nvSpPr>
            <p:spPr>
              <a:xfrm>
                <a:off x="755999" y="6180614"/>
                <a:ext cx="6043916" cy="1775180"/>
              </a:xfrm>
              <a:prstGeom prst="roundRect">
                <a:avLst>
                  <a:gd name="adj" fmla="val 1224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TextBox 54"/>
              <p:cNvSpPr txBox="1"/>
              <p:nvPr/>
            </p:nvSpPr>
            <p:spPr>
              <a:xfrm>
                <a:off x="2190182" y="6333090"/>
                <a:ext cx="3175550" cy="2571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500" dirty="0">
                    <a:solidFill>
                      <a:srgbClr val="991C1D"/>
                    </a:solidFill>
                    <a:latin typeface="Fredoka Medium"/>
                  </a:rPr>
                  <a:t>COLORS AND FEELINGS</a:t>
                </a:r>
              </a:p>
            </p:txBody>
          </p:sp>
          <p:sp>
            <p:nvSpPr>
              <p:cNvPr id="55" name="TextBox 55"/>
              <p:cNvSpPr txBox="1"/>
              <p:nvPr/>
            </p:nvSpPr>
            <p:spPr>
              <a:xfrm>
                <a:off x="1241845" y="6622331"/>
                <a:ext cx="5072224" cy="16033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99"/>
                  </a:lnSpc>
                </a:pPr>
                <a:r>
                  <a:rPr lang="en-US" sz="999" dirty="0">
                    <a:solidFill>
                      <a:srgbClr val="272D54"/>
                    </a:solidFill>
                    <a:latin typeface="Fredoka Medium"/>
                  </a:rPr>
                  <a:t>How do the colors in your artwork make you feel?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EAF46C4-1820-B547-456B-ED57ECE5D7F1}"/>
                </a:ext>
              </a:extLst>
            </p:cNvPr>
            <p:cNvGrpSpPr/>
            <p:nvPr/>
          </p:nvGrpSpPr>
          <p:grpSpPr>
            <a:xfrm>
              <a:off x="756292" y="4139750"/>
              <a:ext cx="6043916" cy="1775180"/>
              <a:chOff x="755999" y="4139750"/>
              <a:chExt cx="6043916" cy="1775180"/>
            </a:xfrm>
          </p:grpSpPr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EED6A2A9-9ECE-BA51-3E49-5EA00181A7FA}"/>
                  </a:ext>
                </a:extLst>
              </p:cNvPr>
              <p:cNvSpPr/>
              <p:nvPr/>
            </p:nvSpPr>
            <p:spPr>
              <a:xfrm>
                <a:off x="755999" y="4139750"/>
                <a:ext cx="6043916" cy="1775180"/>
              </a:xfrm>
              <a:prstGeom prst="roundRect">
                <a:avLst>
                  <a:gd name="adj" fmla="val 1224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2190182" y="4317147"/>
                <a:ext cx="3175550" cy="2571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500" dirty="0">
                    <a:solidFill>
                      <a:srgbClr val="991C1D"/>
                    </a:solidFill>
                    <a:latin typeface="Fredoka Medium"/>
                  </a:rPr>
                  <a:t>FAVORITE PART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1241845" y="4606388"/>
                <a:ext cx="5072224" cy="16033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99"/>
                  </a:lnSpc>
                </a:pPr>
                <a:r>
                  <a:rPr lang="en-US" sz="999" dirty="0">
                    <a:solidFill>
                      <a:srgbClr val="272D54"/>
                    </a:solidFill>
                    <a:latin typeface="Fredoka Medium"/>
                  </a:rPr>
                  <a:t>What is your favorite part of your artwork? Why do you like it?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D4B58CB-E77C-5C68-6F16-53206F86BE13}"/>
                </a:ext>
              </a:extLst>
            </p:cNvPr>
            <p:cNvGrpSpPr/>
            <p:nvPr/>
          </p:nvGrpSpPr>
          <p:grpSpPr>
            <a:xfrm>
              <a:off x="756292" y="2141492"/>
              <a:ext cx="6043916" cy="1775180"/>
              <a:chOff x="755999" y="2141492"/>
              <a:chExt cx="6043916" cy="1775180"/>
            </a:xfrm>
          </p:grpSpPr>
          <p:sp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58E476A4-D62D-8A68-306B-F3C0EB2622E1}"/>
                  </a:ext>
                </a:extLst>
              </p:cNvPr>
              <p:cNvSpPr/>
              <p:nvPr/>
            </p:nvSpPr>
            <p:spPr>
              <a:xfrm>
                <a:off x="755999" y="2141492"/>
                <a:ext cx="6043916" cy="1775180"/>
              </a:xfrm>
              <a:prstGeom prst="roundRect">
                <a:avLst>
                  <a:gd name="adj" fmla="val 1224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2190182" y="2301205"/>
                <a:ext cx="3175550" cy="2571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100"/>
                  </a:lnSpc>
                </a:pPr>
                <a:r>
                  <a:rPr lang="en-US" sz="1500" dirty="0">
                    <a:solidFill>
                      <a:srgbClr val="991C1D"/>
                    </a:solidFill>
                    <a:latin typeface="Fredoka Medium"/>
                  </a:rPr>
                  <a:t>WHAT DID YOU MAKE TODAY?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1241845" y="2590446"/>
                <a:ext cx="5072224" cy="16033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99"/>
                  </a:lnSpc>
                </a:pPr>
                <a:r>
                  <a:rPr lang="en-US" sz="999" dirty="0">
                    <a:solidFill>
                      <a:srgbClr val="272D54"/>
                    </a:solidFill>
                    <a:latin typeface="Fredoka Medium"/>
                  </a:rPr>
                  <a:t>Tell me about your artwork. What did you create?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26CE014-AC57-A800-0C01-5497774812B0}"/>
                </a:ext>
              </a:extLst>
            </p:cNvPr>
            <p:cNvGrpSpPr/>
            <p:nvPr/>
          </p:nvGrpSpPr>
          <p:grpSpPr>
            <a:xfrm>
              <a:off x="756000" y="1455724"/>
              <a:ext cx="6043915" cy="439066"/>
              <a:chOff x="756000" y="1455724"/>
              <a:chExt cx="6043915" cy="439066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8CDC5B49-5A88-3FC3-2348-12655C8F6AC5}"/>
                  </a:ext>
                </a:extLst>
              </p:cNvPr>
              <p:cNvSpPr/>
              <p:nvPr/>
            </p:nvSpPr>
            <p:spPr>
              <a:xfrm>
                <a:off x="4387857" y="1455724"/>
                <a:ext cx="2412058" cy="439066"/>
              </a:xfrm>
              <a:prstGeom prst="roundRect">
                <a:avLst>
                  <a:gd name="adj" fmla="val 2968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tangle: Rounded Corners 74">
                <a:extLst>
                  <a:ext uri="{FF2B5EF4-FFF2-40B4-BE49-F238E27FC236}">
                    <a16:creationId xmlns:a16="http://schemas.microsoft.com/office/drawing/2014/main" id="{A926A2F1-D1A3-604D-80EB-F3E8052D5858}"/>
                  </a:ext>
                </a:extLst>
              </p:cNvPr>
              <p:cNvSpPr/>
              <p:nvPr/>
            </p:nvSpPr>
            <p:spPr>
              <a:xfrm>
                <a:off x="756000" y="1455724"/>
                <a:ext cx="3322420" cy="439066"/>
              </a:xfrm>
              <a:prstGeom prst="roundRect">
                <a:avLst>
                  <a:gd name="adj" fmla="val 2968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895586" y="1582072"/>
                <a:ext cx="1133823" cy="1602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99"/>
                  </a:lnSpc>
                </a:pPr>
                <a:r>
                  <a:rPr lang="en-US" sz="999" dirty="0">
                    <a:solidFill>
                      <a:srgbClr val="272D54"/>
                    </a:solidFill>
                    <a:latin typeface="Fredoka Medium"/>
                  </a:rPr>
                  <a:t>Name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4531528" y="1582072"/>
                <a:ext cx="1133823" cy="16022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99"/>
                  </a:lnSpc>
                </a:pPr>
                <a:r>
                  <a:rPr lang="en-US" sz="999" dirty="0">
                    <a:solidFill>
                      <a:srgbClr val="272D54"/>
                    </a:solidFill>
                    <a:latin typeface="Fredoka Medium"/>
                  </a:rPr>
                  <a:t>Date</a:t>
                </a:r>
              </a:p>
            </p:txBody>
          </p:sp>
        </p:grpSp>
        <p:sp>
          <p:nvSpPr>
            <p:cNvPr id="56" name="TextBox 56"/>
            <p:cNvSpPr txBox="1"/>
            <p:nvPr/>
          </p:nvSpPr>
          <p:spPr>
            <a:xfrm>
              <a:off x="659727" y="681373"/>
              <a:ext cx="6240545" cy="5159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265"/>
                </a:lnSpc>
              </a:pPr>
              <a:r>
                <a:rPr lang="en-US" sz="3047" b="1" dirty="0">
                  <a:solidFill>
                    <a:srgbClr val="FFFFFF"/>
                  </a:solidFill>
                  <a:latin typeface="Fredoka" pitchFamily="2" charset="-79"/>
                </a:rPr>
                <a:t>ART EXIT TICKET TEMPLATE</a:t>
              </a:r>
            </a:p>
          </p:txBody>
        </p:sp>
        <p:sp>
          <p:nvSpPr>
            <p:cNvPr id="64" name="TemplateLAB"/>
            <p:cNvSpPr/>
            <p:nvPr/>
          </p:nvSpPr>
          <p:spPr>
            <a:xfrm>
              <a:off x="3285790" y="10252529"/>
              <a:ext cx="988421" cy="163089"/>
            </a:xfrm>
            <a:custGeom>
              <a:avLst/>
              <a:gdLst/>
              <a:ahLst/>
              <a:cxnLst/>
              <a:rect l="l" t="t" r="r" b="b"/>
              <a:pathLst>
                <a:path w="988421" h="163089">
                  <a:moveTo>
                    <a:pt x="0" y="0"/>
                  </a:moveTo>
                  <a:lnTo>
                    <a:pt x="988420" y="0"/>
                  </a:lnTo>
                  <a:lnTo>
                    <a:pt x="988420" y="163089"/>
                  </a:lnTo>
                  <a:lnTo>
                    <a:pt x="0" y="1630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7">
                <a:extLst>
                  <a:ext uri="{96DAC541-7B7A-43D3-8B79-37D633B846F1}">
                    <asvg:svgBlip xmlns:asvg="http://schemas.microsoft.com/office/drawing/2016/SVG/main" r:embed="rId18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7</TotalTime>
  <Words>83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Fredoka Medium</vt:lpstr>
      <vt:lpstr>Arial</vt:lpstr>
      <vt:lpstr>Calibri</vt:lpstr>
      <vt:lpstr>Fredoka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it Ticket (Portrait)</dc:title>
  <dc:creator>Hoang Anh</dc:creator>
  <cp:lastModifiedBy>Hoang Anh</cp:lastModifiedBy>
  <cp:revision>14</cp:revision>
  <dcterms:created xsi:type="dcterms:W3CDTF">2006-08-16T00:00:00Z</dcterms:created>
  <dcterms:modified xsi:type="dcterms:W3CDTF">2023-09-29T10:13:57Z</dcterms:modified>
  <dc:identifier>DAFvahlxRyY</dc:identifier>
</cp:coreProperties>
</file>